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charts/chart16.xml" ContentType="application/vnd.openxmlformats-officedocument.drawingml.chart+xml"/>
  <Override PartName="/ppt/tags/tag48.xml" ContentType="application/vnd.openxmlformats-officedocument.presentationml.tags+xml"/>
  <Override PartName="/ppt/charts/chart17.xml" ContentType="application/vnd.openxmlformats-officedocument.drawingml.chart+xml"/>
  <Override PartName="/ppt/tags/tag49.xml" ContentType="application/vnd.openxmlformats-officedocument.presentationml.tags+xml"/>
  <Override PartName="/ppt/charts/chart18.xml" ContentType="application/vnd.openxmlformats-officedocument.drawingml.chart+xml"/>
  <Override PartName="/ppt/tags/tag50.xml" ContentType="application/vnd.openxmlformats-officedocument.presentationml.tags+xml"/>
  <Override PartName="/ppt/charts/chart19.xml" ContentType="application/vnd.openxmlformats-officedocument.drawingml.chart+xml"/>
  <Override PartName="/ppt/tags/tag51.xml" ContentType="application/vnd.openxmlformats-officedocument.presentationml.tags+xml"/>
  <Override PartName="/ppt/charts/chart20.xml" ContentType="application/vnd.openxmlformats-officedocument.drawingml.chart+xml"/>
  <Override PartName="/ppt/tags/tag52.xml" ContentType="application/vnd.openxmlformats-officedocument.presentationml.tags+xml"/>
  <Override PartName="/ppt/charts/chart2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0"/>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BE4451D5-8765-46FC-9223-0BF68115B317}">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8A9A0E86-2C89-48CE-9338-6C5581C8B85E}">
          <p14:sldIdLst>
            <p14:sldId id="2147477380"/>
            <p14:sldId id="2147477381"/>
          </p14:sldIdLst>
        </p14:section>
        <p14:section name="Segments Share and Growth By Brands" id="{90C8C195-9193-4CFD-8AF3-2465BBA2E027}">
          <p14:sldIdLst>
            <p14:sldId id="2147477382"/>
            <p14:sldId id="2147477383"/>
          </p14:sldIdLst>
        </p14:section>
        <p14:section name="Price Point Distribution Analysis By Brand" id="{303F7596-86BE-4D0A-92A1-CF99D4BC2438}">
          <p14:sldIdLst>
            <p14:sldId id="2147477384"/>
            <p14:sldId id="2147477385"/>
            <p14:sldId id="2147477386"/>
            <p14:sldId id="2147477387"/>
            <p14:sldId id="2147477388"/>
            <p14:sldId id="214747738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5/10/relationships/revisionInfo" Target="revisionInfo.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0F212A-3D09-42D5-8F73-0E1747B911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E16496A-5215-4D44-BC2F-1D16626FE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8ECCDC4-FBFF-4798-9F27-ADF963BC6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E86EED5-45A7-4E80-9642-1A5D68F5D9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E9B9698-4002-43D5-BB46-EDB5F2E2FC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371412B-ADCE-4B62-82B6-A15C95845B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3D53985-5898-49D1-AD3C-C785CE312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710A41A-379F-4B89-9570-81D72B217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812899999999999</c:v>
                </c:pt>
                <c:pt idx="1">
                  <c:v>12.4175</c:v>
                </c:pt>
                <c:pt idx="2">
                  <c:v>6.0914999999999999</c:v>
                </c:pt>
                <c:pt idx="3">
                  <c:v>10.7544</c:v>
                </c:pt>
                <c:pt idx="4">
                  <c:v>4.9539</c:v>
                </c:pt>
                <c:pt idx="5">
                  <c:v>4.1436000000000002</c:v>
                </c:pt>
                <c:pt idx="6">
                  <c:v>9.5934000000000008</c:v>
                </c:pt>
              </c:numCache>
            </c:numRef>
          </c:xVal>
          <c:yVal>
            <c:numRef>
              <c:f>Sheet1!$B$2:$B$8</c:f>
              <c:numCache>
                <c:formatCode>General</c:formatCode>
                <c:ptCount val="7"/>
                <c:pt idx="0">
                  <c:v>1.321</c:v>
                </c:pt>
                <c:pt idx="1">
                  <c:v>1.44</c:v>
                </c:pt>
                <c:pt idx="2">
                  <c:v>0.55300000000000005</c:v>
                </c:pt>
                <c:pt idx="3">
                  <c:v>0.77100000000000002</c:v>
                </c:pt>
                <c:pt idx="4">
                  <c:v>0.46200000000000002</c:v>
                </c:pt>
                <c:pt idx="5">
                  <c:v>0.36899999999999999</c:v>
                </c:pt>
                <c:pt idx="6">
                  <c:v>1.512</c:v>
                </c:pt>
              </c:numCache>
            </c:numRef>
          </c:yVal>
          <c:bubbleSize>
            <c:numRef>
              <c:f>Sheet1!$C$2:$C$8</c:f>
              <c:numCache>
                <c:formatCode>General</c:formatCode>
                <c:ptCount val="7"/>
                <c:pt idx="0">
                  <c:v>972086869</c:v>
                </c:pt>
                <c:pt idx="1">
                  <c:v>184811438</c:v>
                </c:pt>
                <c:pt idx="2">
                  <c:v>126968743</c:v>
                </c:pt>
                <c:pt idx="3">
                  <c:v>114853020</c:v>
                </c:pt>
                <c:pt idx="4">
                  <c:v>36884480</c:v>
                </c:pt>
                <c:pt idx="5">
                  <c:v>35079369</c:v>
                </c:pt>
                <c:pt idx="6">
                  <c:v>31033081</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CA20F6-3FCE-4D6F-B82D-17F32E93C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044CFA-1EF2-4705-809D-FF359F542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13B215-BDE3-49AA-90DE-5F5C94E56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8746CC-2FA1-433E-90DC-A5D94B80BC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E62AB4-3A70-4AD2-98C3-6FEB3BBBC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21572F-5913-4C51-BDBD-ECD4574128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52E919-61E3-4A9A-8089-A9D6D2839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1A73EC1-1EF2-4388-8571-CFBCDD49A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14499999999999</c:v>
                </c:pt>
                <c:pt idx="1">
                  <c:v>12.489800000000001</c:v>
                </c:pt>
                <c:pt idx="2">
                  <c:v>10.9337</c:v>
                </c:pt>
                <c:pt idx="3">
                  <c:v>9.1037999999999997</c:v>
                </c:pt>
                <c:pt idx="4">
                  <c:v>18.031400000000001</c:v>
                </c:pt>
                <c:pt idx="5">
                  <c:v>8.3902999999999999</c:v>
                </c:pt>
              </c:numCache>
            </c:numRef>
          </c:xVal>
          <c:yVal>
            <c:numRef>
              <c:f>Sheet1!$B$2:$B$7</c:f>
              <c:numCache>
                <c:formatCode>General</c:formatCode>
                <c:ptCount val="6"/>
                <c:pt idx="0">
                  <c:v>1.157</c:v>
                </c:pt>
                <c:pt idx="1">
                  <c:v>0.86799999999999999</c:v>
                </c:pt>
                <c:pt idx="2">
                  <c:v>0.63200000000000001</c:v>
                </c:pt>
                <c:pt idx="3">
                  <c:v>0.91400000000000003</c:v>
                </c:pt>
                <c:pt idx="4">
                  <c:v>0.73899999999999999</c:v>
                </c:pt>
                <c:pt idx="5">
                  <c:v>0.65200000000000002</c:v>
                </c:pt>
              </c:numCache>
            </c:numRef>
          </c:yVal>
          <c:bubbleSize>
            <c:numRef>
              <c:f>Sheet1!$C$2:$C$7</c:f>
              <c:numCache>
                <c:formatCode>General</c:formatCode>
                <c:ptCount val="6"/>
                <c:pt idx="0">
                  <c:v>217880579</c:v>
                </c:pt>
                <c:pt idx="1">
                  <c:v>65466766</c:v>
                </c:pt>
                <c:pt idx="2">
                  <c:v>20499734</c:v>
                </c:pt>
                <c:pt idx="3">
                  <c:v>13711128</c:v>
                </c:pt>
                <c:pt idx="4">
                  <c:v>6491139</c:v>
                </c:pt>
                <c:pt idx="5">
                  <c:v>385552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AD1E0CE-C7EA-49B4-A083-1879896C34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10D449-6E50-4ECD-9BD6-918F7B29F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CF22D993-9AD9-4FB5-A4C2-A3E121FA0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83E071C-D75D-457F-B378-FDB95FF2F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1AEB346-35F9-4388-AB5F-5C599A2BC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55EC87B-4794-4C81-A06E-FB82FAF7F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53333ED-4C78-4F21-8942-FCC165A49A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347A330-FD6C-4F0B-8D9A-63EA0D18BF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EE7C9E6-4AA4-46D4-B180-E54AA4F08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24038BC-0F89-4126-A42E-050265E96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9D3B5A-DE3E-4EB3-A5F5-EBC85737B3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ED812D-CB9B-4DAD-97FA-47BB48FEA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C1260D-0314-4774-88EC-7B01100595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9079B7-9D88-4DE5-A8E0-3469FEB21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A73BBD3-653A-403C-B4D3-BDDA2B3F6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690366-DD77-452B-8164-297037E69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5841999999999992</c:v>
                </c:pt>
                <c:pt idx="3">
                  <c:v>8.9646000000000008</c:v>
                </c:pt>
                <c:pt idx="4">
                  <c:v>17.959800000000001</c:v>
                </c:pt>
                <c:pt idx="5">
                  <c:v>8.4400999999999993</c:v>
                </c:pt>
              </c:numCache>
            </c:numRef>
          </c:xVal>
          <c:yVal>
            <c:numRef>
              <c:f>Sheet1!$B$2:$B$7</c:f>
              <c:numCache>
                <c:formatCode>General</c:formatCode>
                <c:ptCount val="6"/>
                <c:pt idx="0">
                  <c:v>1.105</c:v>
                </c:pt>
                <c:pt idx="1">
                  <c:v>0.90900000000000003</c:v>
                </c:pt>
                <c:pt idx="2">
                  <c:v>0.66600000000000004</c:v>
                </c:pt>
                <c:pt idx="3">
                  <c:v>0.94</c:v>
                </c:pt>
                <c:pt idx="4">
                  <c:v>0.753</c:v>
                </c:pt>
                <c:pt idx="5">
                  <c:v>0.88500000000000001</c:v>
                </c:pt>
              </c:numCache>
            </c:numRef>
          </c:yVal>
          <c:bubbleSize>
            <c:numRef>
              <c:f>Sheet1!$C$2:$C$7</c:f>
              <c:numCache>
                <c:formatCode>General</c:formatCode>
                <c:ptCount val="6"/>
                <c:pt idx="0">
                  <c:v>71368823</c:v>
                </c:pt>
                <c:pt idx="1">
                  <c:v>22258475</c:v>
                </c:pt>
                <c:pt idx="2">
                  <c:v>5660351</c:v>
                </c:pt>
                <c:pt idx="3">
                  <c:v>5016932</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418BD3-A8C7-446A-B949-22BADF414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D9D98B-03F3-4BF4-A857-40F5C725DC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AE450A-DB67-4F91-9E68-F9086324C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E92070-2BA6-440B-9041-4CD3F196F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598539-E486-4534-BB11-5B85DD3978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9D648C-4C6B-423F-BF0C-7949A8A9A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416EFA-B1BF-4031-8CD0-52AEE8886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58063FF-91E8-431F-B4F2-A163A1FDE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557099999999998</c:v>
                </c:pt>
                <c:pt idx="1">
                  <c:v>12.683999999999999</c:v>
                </c:pt>
                <c:pt idx="2">
                  <c:v>17.270099999999999</c:v>
                </c:pt>
                <c:pt idx="3">
                  <c:v>10.02</c:v>
                </c:pt>
                <c:pt idx="4">
                  <c:v>10.835599999999999</c:v>
                </c:pt>
                <c:pt idx="5">
                  <c:v>8.0243000000000002</c:v>
                </c:pt>
              </c:numCache>
            </c:numRef>
          </c:xVal>
          <c:yVal>
            <c:numRef>
              <c:f>Sheet1!$B$2:$B$7</c:f>
              <c:numCache>
                <c:formatCode>General</c:formatCode>
                <c:ptCount val="6"/>
                <c:pt idx="0">
                  <c:v>1.2</c:v>
                </c:pt>
                <c:pt idx="1">
                  <c:v>0.81100000000000005</c:v>
                </c:pt>
                <c:pt idx="2">
                  <c:v>0.79900000000000004</c:v>
                </c:pt>
                <c:pt idx="3">
                  <c:v>0.77600000000000002</c:v>
                </c:pt>
                <c:pt idx="4">
                  <c:v>0.72299999999999998</c:v>
                </c:pt>
                <c:pt idx="5">
                  <c:v>0.47099999999999997</c:v>
                </c:pt>
              </c:numCache>
            </c:numRef>
          </c:yVal>
          <c:bubbleSize>
            <c:numRef>
              <c:f>Sheet1!$C$2:$C$7</c:f>
              <c:numCache>
                <c:formatCode>General</c:formatCode>
                <c:ptCount val="6"/>
                <c:pt idx="0">
                  <c:v>503759226</c:v>
                </c:pt>
                <c:pt idx="1">
                  <c:v>116928743</c:v>
                </c:pt>
                <c:pt idx="2">
                  <c:v>28880007</c:v>
                </c:pt>
                <c:pt idx="3">
                  <c:v>17321953</c:v>
                </c:pt>
                <c:pt idx="4">
                  <c:v>7619052</c:v>
                </c:pt>
                <c:pt idx="5">
                  <c:v>720966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3FD9E2-352E-4245-95A5-62D97D25C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71624C7-D710-4313-B587-C02C0D1106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57F56E0F-C07E-4530-A242-7CA4ED6E1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C81CF096-70EF-4CC7-9555-051B05BA3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DC75A8-42AF-4C57-890D-B462BE3DE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66D7B58-5764-43AC-AD4F-C80FB4115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F24BCB7-A333-438B-9672-6313C3B71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4ACFEC2-DA98-44F9-B407-AF5EFE4E2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C7DCB5-9AA4-4002-98C2-277E10194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6B74EBD-401B-43A2-9D70-FD6614C7A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4D32F0-E519-481A-91C1-57D397300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5C4B5A5-21BB-4E1B-9D65-FEE36E405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204F6E3-A392-4725-875B-DD2BBDE42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3C859E-8417-4064-879F-BC0C17B31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8E0BA42-E41C-476C-AD26-EBFE1F011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7401D8-3124-4FB9-9E6A-741B86E18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675</c:v>
                </c:pt>
                <c:pt idx="3">
                  <c:v>11.0657</c:v>
                </c:pt>
                <c:pt idx="4">
                  <c:v>10.835800000000001</c:v>
                </c:pt>
                <c:pt idx="5">
                  <c:v>2.9802</c:v>
                </c:pt>
              </c:numCache>
            </c:numRef>
          </c:xVal>
          <c:yVal>
            <c:numRef>
              <c:f>Sheet1!$B$2:$B$7</c:f>
              <c:numCache>
                <c:formatCode>General</c:formatCode>
                <c:ptCount val="6"/>
                <c:pt idx="0">
                  <c:v>1.3759999999999999</c:v>
                </c:pt>
                <c:pt idx="1">
                  <c:v>0.86699999999999999</c:v>
                </c:pt>
                <c:pt idx="2">
                  <c:v>0.879</c:v>
                </c:pt>
                <c:pt idx="3">
                  <c:v>0.83</c:v>
                </c:pt>
                <c:pt idx="4">
                  <c:v>0.78200000000000003</c:v>
                </c:pt>
                <c:pt idx="5">
                  <c:v>0.113</c:v>
                </c:pt>
              </c:numCache>
            </c:numRef>
          </c:yVal>
          <c:bubbleSize>
            <c:numRef>
              <c:f>Sheet1!$C$2:$C$7</c:f>
              <c:numCache>
                <c:formatCode>General</c:formatCode>
                <c:ptCount val="6"/>
                <c:pt idx="0">
                  <c:v>118612654</c:v>
                </c:pt>
                <c:pt idx="1">
                  <c:v>46786767</c:v>
                </c:pt>
                <c:pt idx="2">
                  <c:v>8886004</c:v>
                </c:pt>
                <c:pt idx="3">
                  <c:v>7744389</c:v>
                </c:pt>
                <c:pt idx="4">
                  <c:v>7538613</c:v>
                </c:pt>
                <c:pt idx="5">
                  <c:v>259742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Bic</c:v>
                </c:pt>
                <c:pt idx="2">
                  <c:v>Schick</c:v>
                </c:pt>
              </c:strCache>
            </c:strRef>
          </c:cat>
          <c:val>
            <c:numRef>
              <c:f>Sheet1!$B$2:$B$4</c:f>
              <c:numCache>
                <c:formatCode>General</c:formatCode>
                <c:ptCount val="3"/>
                <c:pt idx="0">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C$2:$C$4</c:f>
              <c:numCache>
                <c:formatCode>General</c:formatCode>
                <c:ptCount val="3"/>
                <c:pt idx="0">
                  <c:v>41.50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D$2:$D$4</c:f>
              <c:numCache>
                <c:formatCode>General</c:formatCode>
                <c:ptCount val="3"/>
                <c:pt idx="0">
                  <c:v>27.7345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E$2:$E$4</c:f>
              <c:numCache>
                <c:formatCode>General</c:formatCode>
                <c:ptCount val="3"/>
                <c:pt idx="0">
                  <c:v>39.3269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F$2:$F$4</c:f>
              <c:numCache>
                <c:formatCode>General</c:formatCode>
                <c:ptCount val="3"/>
                <c:pt idx="0">
                  <c:v>12.43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Bic</c:v>
                </c:pt>
                <c:pt idx="2">
                  <c:v>Schick</c:v>
                </c:pt>
              </c:strCache>
            </c:strRef>
          </c:cat>
          <c:val>
            <c:numRef>
              <c:f>Sheet1!$G$2:$G$4</c:f>
              <c:numCache>
                <c:formatCode>General</c:formatCode>
                <c:ptCount val="3"/>
                <c:pt idx="0">
                  <c:v>36.7325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CT</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Gillette</c:v>
                </c:pt>
                <c:pt idx="1">
                  <c:v>Bic</c:v>
                </c:pt>
                <c:pt idx="2">
                  <c:v>Schick</c:v>
                </c:pt>
              </c:strCache>
            </c:strRef>
          </c:cat>
          <c:val>
            <c:numRef>
              <c:f>Sheet1!$H$2:$H$4</c:f>
              <c:numCache>
                <c:formatCode>General</c:formatCode>
                <c:ptCount val="3"/>
                <c:pt idx="0">
                  <c:v>7.3722000000000003</c:v>
                </c:pt>
                <c:pt idx="1">
                  <c:v>6.5880000000000001</c:v>
                </c:pt>
                <c:pt idx="2">
                  <c:v>9.94640000000000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I$2:$I$4</c:f>
              <c:numCache>
                <c:formatCode>General</c:formatCode>
                <c:ptCount val="3"/>
                <c:pt idx="0">
                  <c:v>31.264199999999999</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11.4547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18.41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14.992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E$2:$E$5</c:f>
              <c:numCache>
                <c:formatCode>General</c:formatCode>
                <c:ptCount val="4"/>
                <c:pt idx="0">
                  <c:v>14.11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F$2:$F$5</c:f>
              <c:numCache>
                <c:formatCode>General</c:formatCode>
                <c:ptCount val="4"/>
                <c:pt idx="0">
                  <c:v>20.0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G$2:$G$5</c:f>
              <c:numCache>
                <c:formatCode>General</c:formatCode>
                <c:ptCount val="4"/>
                <c:pt idx="0">
                  <c:v>7.3235000000000001</c:v>
                </c:pt>
                <c:pt idx="2">
                  <c:v>5.0484</c:v>
                </c:pt>
                <c:pt idx="3">
                  <c:v>9.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H$2:$H$5</c:f>
              <c:numCache>
                <c:formatCode>General</c:formatCode>
                <c:ptCount val="4"/>
                <c:pt idx="3">
                  <c:v>14.589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I$2:$I$5</c:f>
              <c:numCache>
                <c:formatCode>General</c:formatCode>
                <c:ptCount val="4"/>
                <c:pt idx="0">
                  <c:v>25.356000000000002</c:v>
                </c:pt>
                <c:pt idx="1">
                  <c:v>12.1012</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Schick</c:v>
                </c:pt>
              </c:strCache>
            </c:strRef>
          </c:cat>
          <c:val>
            <c:numRef>
              <c:f>Sheet1!$B$2:$B$3</c:f>
              <c:numCache>
                <c:formatCode>General</c:formatCode>
                <c:ptCount val="2"/>
                <c:pt idx="0">
                  <c:v>27.0196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Schick</c:v>
                </c:pt>
              </c:strCache>
            </c:strRef>
          </c:cat>
          <c:val>
            <c:numRef>
              <c:f>Sheet1!$C$2:$C$3</c:f>
              <c:numCache>
                <c:formatCode>General</c:formatCode>
                <c:ptCount val="2"/>
                <c:pt idx="0">
                  <c:v>41.50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cat>
            <c:strRef>
              <c:f>Sheet1!$A$2:$A$3</c:f>
              <c:strCache>
                <c:ptCount val="2"/>
                <c:pt idx="0">
                  <c:v>Gillette</c:v>
                </c:pt>
                <c:pt idx="1">
                  <c:v>Schick</c:v>
                </c:pt>
              </c:strCache>
            </c:strRef>
          </c:cat>
          <c:val>
            <c:numRef>
              <c:f>Sheet1!$D$2:$D$3</c:f>
              <c:numCache>
                <c:formatCode>General</c:formatCode>
                <c:ptCount val="2"/>
                <c:pt idx="0">
                  <c:v>35.7867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Schick</c:v>
                </c:pt>
              </c:strCache>
            </c:strRef>
          </c:cat>
          <c:val>
            <c:numRef>
              <c:f>Sheet1!$E$2:$E$3</c:f>
              <c:numCache>
                <c:formatCode>General</c:formatCode>
                <c:ptCount val="2"/>
                <c:pt idx="0">
                  <c:v>39.3269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Schick</c:v>
                </c:pt>
              </c:strCache>
            </c:strRef>
          </c:cat>
          <c:val>
            <c:numRef>
              <c:f>Sheet1!$F$2:$F$3</c:f>
              <c:numCache>
                <c:formatCode>General</c:formatCode>
                <c:ptCount val="2"/>
                <c:pt idx="0">
                  <c:v>36.7325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cat>
            <c:strRef>
              <c:f>Sheet1!$A$2:$A$3</c:f>
              <c:strCache>
                <c:ptCount val="2"/>
                <c:pt idx="0">
                  <c:v>Gillette</c:v>
                </c:pt>
                <c:pt idx="1">
                  <c:v>Schick</c:v>
                </c:pt>
              </c:strCache>
            </c:strRef>
          </c:cat>
          <c:val>
            <c:numRef>
              <c:f>Sheet1!$G$2:$G$3</c:f>
              <c:numCache>
                <c:formatCode>General</c:formatCode>
                <c:ptCount val="2"/>
                <c:pt idx="1">
                  <c:v>10.1699</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7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Bic</c:v>
                </c:pt>
              </c:strCache>
            </c:strRef>
          </c:cat>
          <c:val>
            <c:numRef>
              <c:f>Sheet1!$B$2:$B$3</c:f>
              <c:numCache>
                <c:formatCode>General</c:formatCode>
                <c:ptCount val="2"/>
                <c:pt idx="0">
                  <c:v>28.535599999999999</c:v>
                </c:pt>
                <c:pt idx="1">
                  <c:v>12.051299999999999</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2955499-B1BC-4AED-9F6C-7E7D8A147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40A9A39-8AAD-4F71-B389-52D576DCE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BE5498-C073-4D6A-8917-FAC84FF77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1B35787-2124-4077-819E-FEAEC832B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12548A2-CBB7-41F5-9479-1FE19E4CA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82071D1-7989-45AA-AE46-8D3C4F713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60BA655-47D8-4A5E-B8E2-1217EA2A3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3DE167B-C51B-44F8-A67E-F6DBD03AC3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32</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7957</c:v>
                </c:pt>
                <c:pt idx="2">
                  <c:v>202579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Bic</c:v>
                </c:pt>
                <c:pt idx="2">
                  <c:v>Schick</c:v>
                </c:pt>
              </c:strCache>
            </c:strRef>
          </c:cat>
          <c:val>
            <c:numRef>
              <c:f>Sheet1!$B$2:$B$4</c:f>
              <c:numCache>
                <c:formatCode>General</c:formatCode>
                <c:ptCount val="3"/>
                <c:pt idx="1">
                  <c:v>4.6299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C$2:$C$4</c:f>
              <c:numCache>
                <c:formatCode>General</c:formatCode>
                <c:ptCount val="3"/>
                <c:pt idx="0">
                  <c:v>15.04170000000000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D$2:$D$4</c:f>
              <c:numCache>
                <c:formatCode>General</c:formatCode>
                <c:ptCount val="3"/>
                <c:pt idx="0">
                  <c:v>14.8953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E$2:$E$4</c:f>
              <c:numCache>
                <c:formatCode>General</c:formatCode>
                <c:ptCount val="3"/>
                <c:pt idx="2">
                  <c:v>18.1865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F$2:$F$4</c:f>
              <c:numCache>
                <c:formatCode>General</c:formatCode>
                <c:ptCount val="3"/>
                <c:pt idx="0">
                  <c:v>20.5308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Bic</c:v>
                </c:pt>
                <c:pt idx="2">
                  <c:v>Schick</c:v>
                </c:pt>
              </c:strCache>
            </c:strRef>
          </c:cat>
          <c:val>
            <c:numRef>
              <c:f>Sheet1!$G$2:$G$4</c:f>
              <c:numCache>
                <c:formatCode>General</c:formatCode>
                <c:ptCount val="3"/>
                <c:pt idx="0">
                  <c:v>20.5812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2CT</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Gillette</c:v>
                </c:pt>
                <c:pt idx="1">
                  <c:v>Bic</c:v>
                </c:pt>
                <c:pt idx="2">
                  <c:v>Schick</c:v>
                </c:pt>
              </c:strCache>
            </c:strRef>
          </c:cat>
          <c:val>
            <c:numRef>
              <c:f>Sheet1!$H$2:$H$4</c:f>
              <c:numCache>
                <c:formatCode>General</c:formatCode>
                <c:ptCount val="3"/>
                <c:pt idx="0">
                  <c:v>31.2641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Bic</c:v>
                </c:pt>
                <c:pt idx="2">
                  <c:v>Schick</c:v>
                </c:pt>
              </c:strCache>
            </c:strRef>
          </c:cat>
          <c:val>
            <c:numRef>
              <c:f>Sheet1!$I$2:$I$4</c:f>
              <c:numCache>
                <c:formatCode>General</c:formatCode>
                <c:ptCount val="3"/>
                <c:pt idx="0">
                  <c:v>12.4145</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5CT</c:v>
                </c:pt>
              </c:strCache>
            </c:strRef>
          </c:tx>
          <c:spPr>
            <a:ln w="19050">
              <a:noFill/>
            </a:ln>
          </c:spPr>
          <c:marker>
            <c:symbol val="dash"/>
            <c:size val="20"/>
            <c:spPr>
              <a:solidFill>
                <a:srgbClr val="FFE5E5"/>
              </a:solidFill>
              <a:ln w="9525">
                <a:noFill/>
              </a:ln>
              <a:effectLst/>
            </c:spPr>
          </c:marker>
          <c:cat>
            <c:strRef>
              <c:f>Sheet1!$A$2:$A$2</c:f>
              <c:strCache>
                <c:ptCount val="1"/>
                <c:pt idx="0">
                  <c:v>Gillette</c:v>
                </c:pt>
              </c:strCache>
            </c:strRef>
          </c:cat>
          <c:val>
            <c:numRef>
              <c:f>Sheet1!$B$2:$B$2</c:f>
              <c:numCache>
                <c:formatCode>General</c:formatCode>
                <c:ptCount val="1"/>
                <c:pt idx="0">
                  <c:v>15.012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8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C$2:$C$2</c:f>
              <c:numCache>
                <c:formatCode>General</c:formatCode>
                <c:ptCount val="1"/>
                <c:pt idx="0">
                  <c:v>14.99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D$2:$D$2</c:f>
              <c:numCache>
                <c:formatCode>General</c:formatCode>
                <c:ptCount val="1"/>
                <c:pt idx="0">
                  <c:v>20.0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E$2:$E$2</c:f>
              <c:numCache>
                <c:formatCode>General</c:formatCode>
                <c:ptCount val="1"/>
                <c:pt idx="0">
                  <c:v>19.96089999999999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87DD1F-5BAE-445E-B790-EA003B647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6C4E6C-83A5-4261-8D22-474761058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794CED-2F85-4486-AF35-BB53586F77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315C6B2-FD25-4A72-B4AE-B62CAFDC0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C4395B-65D6-4A3D-9541-3D314F9304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ADB58A7-678F-4423-B367-2E9B1ECF2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A86A16E-F394-4AC9-886A-BE5DF2572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59398D-BE8D-409D-957F-89B2406BD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7.5094000000000003</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0.56799999999999995</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F79398-829E-4FE3-8D14-CB21FCBA7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C21FA4-C93D-4A94-BB14-F019C0407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FE0D15F-1673-46FC-956D-EAE815B0C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CF92546-E56E-4FC7-A353-E9A375F16B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63B3E1-FE85-4286-9888-15D9499CD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9F31D3F-6CBC-4328-B25D-A5B7E61C4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EA4578-0D8F-45F5-B6E4-CF9D5EA6B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8AB1F9-781E-46F8-A9E8-3AE0E6E94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7.37</c:v>
                </c:pt>
                <c:pt idx="7">
                  <c:v>6.1635</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32800000000000001</c:v>
                </c:pt>
                <c:pt idx="7">
                  <c:v>0.26700000000000002</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1189074</c:v>
                </c:pt>
                <c:pt idx="7">
                  <c:v>1089068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Comfort 3</c:v>
                  </c:pt>
                  <c:pt idx="7">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E70AC5-F7C7-4B77-AC8B-1ABCAD1D5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9E61483-D0C5-43AA-9A07-3E83ACF0B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7310A102-CAB3-4981-8BF1-E72374A50D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16A9E18-8FC3-4E09-B499-712D7FAB2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8A874FF-AD1B-44E2-ADF2-8E9CE6A52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3C06107-E0E4-4581-AD00-E80901F44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0777E2E-433A-4E8E-9157-AEB7BBE4D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3958FFA-38EE-4619-B73C-1A8B06CDB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9460A9F-5579-491F-BFA2-AB97C4B98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89593C-E7B1-48FE-8E2A-33239A97F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BE1227-0F5B-469B-B260-A52BDFB451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96372E-E5D7-4760-870C-3C09F5B6B2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5697416-131F-42BD-9848-93BAA2247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9FA505-2924-4954-B5C6-CEAF27BA3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AD0E7CA-660A-4C60-BBB8-434062A597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69BE537-7640-4EA4-99BD-A66EBCD33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7.5094000000000003</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0.33900000000000002</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B70BE6-F8C9-4726-B6EF-AD9F5CF6C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7C683F9-0868-4EDA-8E91-82A7772A49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34EB4F3-1D7B-4261-8545-E0B93FC767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D1FE92-4688-4523-9164-B5269A989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C375606-260D-4AAA-AA2C-4F2035F30C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7617C9E-25A7-426C-96BA-DE6761E35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53EE8EE-272B-4B8A-AC68-26B1B7B20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2A3C7A-458C-4B53-9FED-4295570B7B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A80E1F-ACBF-4F11-871A-F41FE30E8C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98F038A-9037-4A8F-B519-028A43D0C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1E9C15-0293-42E2-A187-6484FF30C3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0D5FE63-B1D7-46E1-9C6E-A3E187BF42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2B4B561-0CF6-440B-A81A-C5E8700B0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DE7FE1E-C092-40A5-AC45-03E7F8EEA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56BC90A-49FC-47CC-BEC5-730BC2BE7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F49E5C8-AB1F-4F15-B284-9D81C15AA5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E980C4-D243-4074-89D2-3620E05F8F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CAB9AD6-124C-48D0-8AB1-38947ABA5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24D5A4-BC59-401C-86EA-579E880FA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8F9C28C-D3ED-4CD7-93FB-3ACBC009C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D78773F4-1199-4BE1-A147-EF7BDEC8D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E992241-829E-44DD-AB6C-A7A3A639C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7554C17-3D40-4404-8B3B-BEB0333546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86591B1-77C6-48BC-BF60-690FA9455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16.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17.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8.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9.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67802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097433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696527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1880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39639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4284395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213835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141686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613234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098074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05432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7222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972582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94405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728462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70515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608860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749347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725663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491031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03408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22129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56345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82636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636358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43972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347152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398991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693969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2480617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381334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154001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08225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0803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51098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05658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0224462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7873912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852304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18481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TotalTime>
  <Words>2412</Words>
  <Application>Microsoft Office PowerPoint</Application>
  <PresentationFormat>On-screen Show (16:9)</PresentationFormat>
  <Paragraphs>661</Paragraphs>
  <Slides>25</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4</cp:revision>
  <dcterms:created xsi:type="dcterms:W3CDTF">2024-07-05T14:56:51Z</dcterms:created>
  <dcterms:modified xsi:type="dcterms:W3CDTF">2025-08-04T12:2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